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</p:sldIdLst>
  <p:sldSz cx="7772400" cy="100584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6" d="100"/>
          <a:sy n="76" d="100"/>
        </p:scale>
        <p:origin x="291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2930" y="1646133"/>
            <a:ext cx="6606540" cy="3501813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550" y="5282989"/>
            <a:ext cx="5829300" cy="2428451"/>
          </a:xfrm>
        </p:spPr>
        <p:txBody>
          <a:bodyPr/>
          <a:lstStyle>
            <a:lvl1pPr marL="0" indent="0" algn="ctr">
              <a:buNone/>
              <a:defRPr sz="2040"/>
            </a:lvl1pPr>
            <a:lvl2pPr marL="388620" indent="0" algn="ctr">
              <a:buNone/>
              <a:defRPr sz="1700"/>
            </a:lvl2pPr>
            <a:lvl3pPr marL="777240" indent="0" algn="ctr">
              <a:buNone/>
              <a:defRPr sz="1530"/>
            </a:lvl3pPr>
            <a:lvl4pPr marL="1165860" indent="0" algn="ctr">
              <a:buNone/>
              <a:defRPr sz="1360"/>
            </a:lvl4pPr>
            <a:lvl5pPr marL="1554480" indent="0" algn="ctr">
              <a:buNone/>
              <a:defRPr sz="1360"/>
            </a:lvl5pPr>
            <a:lvl6pPr marL="1943100" indent="0" algn="ctr">
              <a:buNone/>
              <a:defRPr sz="1360"/>
            </a:lvl6pPr>
            <a:lvl7pPr marL="2331720" indent="0" algn="ctr">
              <a:buNone/>
              <a:defRPr sz="1360"/>
            </a:lvl7pPr>
            <a:lvl8pPr marL="2720340" indent="0" algn="ctr">
              <a:buNone/>
              <a:defRPr sz="1360"/>
            </a:lvl8pPr>
            <a:lvl9pPr marL="3108960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889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746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562124" y="535517"/>
            <a:ext cx="1675924" cy="852402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353" y="535517"/>
            <a:ext cx="4930616" cy="852402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3708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721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05" y="2507618"/>
            <a:ext cx="6703695" cy="4184014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05" y="6731215"/>
            <a:ext cx="6703695" cy="2200274"/>
          </a:xfrm>
        </p:spPr>
        <p:txBody>
          <a:bodyPr/>
          <a:lstStyle>
            <a:lvl1pPr marL="0" indent="0">
              <a:buNone/>
              <a:defRPr sz="2040">
                <a:solidFill>
                  <a:schemeClr val="tx1"/>
                </a:solidFill>
              </a:defRPr>
            </a:lvl1pPr>
            <a:lvl2pPr marL="38862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7240" indent="0">
              <a:buNone/>
              <a:defRPr sz="1530">
                <a:solidFill>
                  <a:schemeClr val="tx1">
                    <a:tint val="75000"/>
                  </a:schemeClr>
                </a:solidFill>
              </a:defRPr>
            </a:lvl3pPr>
            <a:lvl4pPr marL="11658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4pPr>
            <a:lvl5pPr marL="155448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5pPr>
            <a:lvl6pPr marL="194310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6pPr>
            <a:lvl7pPr marL="233172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7pPr>
            <a:lvl8pPr marL="272034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8pPr>
            <a:lvl9pPr marL="31089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534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353" y="2677584"/>
            <a:ext cx="330327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34778" y="2677584"/>
            <a:ext cx="330327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7364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535519"/>
            <a:ext cx="6703695" cy="194415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5366" y="2465706"/>
            <a:ext cx="3288089" cy="1208404"/>
          </a:xfr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5366" y="3674110"/>
            <a:ext cx="3288089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934778" y="2465706"/>
            <a:ext cx="3304282" cy="1208404"/>
          </a:xfr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934778" y="3674110"/>
            <a:ext cx="3304282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112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9456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069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4282" y="1448226"/>
            <a:ext cx="3934778" cy="7147983"/>
          </a:xfrm>
        </p:spPr>
        <p:txBody>
          <a:bodyPr/>
          <a:lstStyle>
            <a:lvl1pPr>
              <a:defRPr sz="2720"/>
            </a:lvl1pPr>
            <a:lvl2pPr>
              <a:defRPr sz="2380"/>
            </a:lvl2pPr>
            <a:lvl3pPr>
              <a:defRPr sz="204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798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304282" y="1448226"/>
            <a:ext cx="3934778" cy="7147983"/>
          </a:xfrm>
        </p:spPr>
        <p:txBody>
          <a:bodyPr anchor="t"/>
          <a:lstStyle>
            <a:lvl1pPr marL="0" indent="0">
              <a:buNone/>
              <a:defRPr sz="2720"/>
            </a:lvl1pPr>
            <a:lvl2pPr marL="388620" indent="0">
              <a:buNone/>
              <a:defRPr sz="2380"/>
            </a:lvl2pPr>
            <a:lvl3pPr marL="777240" indent="0">
              <a:buNone/>
              <a:defRPr sz="2040"/>
            </a:lvl3pPr>
            <a:lvl4pPr marL="1165860" indent="0">
              <a:buNone/>
              <a:defRPr sz="1700"/>
            </a:lvl4pPr>
            <a:lvl5pPr marL="1554480" indent="0">
              <a:buNone/>
              <a:defRPr sz="1700"/>
            </a:lvl5pPr>
            <a:lvl6pPr marL="1943100" indent="0">
              <a:buNone/>
              <a:defRPr sz="1700"/>
            </a:lvl6pPr>
            <a:lvl7pPr marL="2331720" indent="0">
              <a:buNone/>
              <a:defRPr sz="1700"/>
            </a:lvl7pPr>
            <a:lvl8pPr marL="2720340" indent="0">
              <a:buNone/>
              <a:defRPr sz="1700"/>
            </a:lvl8pPr>
            <a:lvl9pPr marL="3108960" indent="0">
              <a:buNone/>
              <a:defRPr sz="17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405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F1F9C9-4BD0-2A45-8551-08DA4B15A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77883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353" y="535519"/>
            <a:ext cx="6703695" cy="19441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353" y="2677584"/>
            <a:ext cx="6703695" cy="6381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353" y="9322649"/>
            <a:ext cx="174879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9C896E-67EC-4816-B21B-8C87EEAFF6F7}" type="datetimeFigureOut">
              <a:rPr lang="en-US" smtClean="0"/>
              <a:t>3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4608" y="9322649"/>
            <a:ext cx="2623185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89258" y="9322649"/>
            <a:ext cx="174879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788D5F-EEBD-4570-BBB7-603B9412F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00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77240" rtl="0" eaLnBrk="1" latinLnBrk="0" hangingPunct="1">
        <a:lnSpc>
          <a:spcPct val="90000"/>
        </a:lnSpc>
        <a:spcBef>
          <a:spcPct val="0"/>
        </a:spcBef>
        <a:buNone/>
        <a:defRPr sz="37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310" indent="-194310" algn="l" defTabSz="777240" rtl="0" eaLnBrk="1" latinLnBrk="0" hangingPunct="1">
        <a:lnSpc>
          <a:spcPct val="90000"/>
        </a:lnSpc>
        <a:spcBef>
          <a:spcPts val="850"/>
        </a:spcBef>
        <a:buFont typeface="Arial" panose="020B0604020202020204" pitchFamily="34" charset="0"/>
        <a:buChar char="•"/>
        <a:defRPr sz="2380" kern="1200">
          <a:solidFill>
            <a:schemeClr val="tx1"/>
          </a:solidFill>
          <a:latin typeface="+mn-lt"/>
          <a:ea typeface="+mn-ea"/>
          <a:cs typeface="+mn-cs"/>
        </a:defRPr>
      </a:lvl1pPr>
      <a:lvl2pPr marL="5829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2pPr>
      <a:lvl3pPr marL="9715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213741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5260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9146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3032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6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2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8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310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7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3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1F05E-34D2-0DAF-AADF-9933B33B00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607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B8A5B29-08DB-126B-8DBB-C0ACE7E4C3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176572"/>
            <a:ext cx="7772400" cy="5898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183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ade Gothic Next HvyCd" panose="020B0906040303020004" pitchFamily="34" charset="0"/>
                <a:ea typeface="+mn-ea"/>
                <a:cs typeface="Arial" panose="020B0604020202020204" pitchFamily="34" charset="0"/>
              </a:rPr>
              <a:t>DO NOT PRIN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3D98268-0771-4ECF-B54E-68F5B606EA6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4399" y="1079500"/>
            <a:ext cx="5943601" cy="35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1183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Iskoola Pota" panose="020B0604020202020204" pitchFamily="34" charset="0"/>
              </a:rPr>
              <a:t>Food and Refreshment Tent Card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203EBA-8901-1184-DB93-5735E966D49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4373" y="1470253"/>
            <a:ext cx="5943627" cy="35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1183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 to let guests know what you’re serving on the food and refreshments tab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FDC014-65B1-9ABE-943B-9E04238C37F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 rotWithShape="1">
          <a:blip r:embed="rId5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 contrast="100000"/>
                    </a14:imgEffect>
                  </a14:imgLayer>
                </a14:imgProps>
              </a:ext>
            </a:extLst>
          </a:blip>
          <a:srcRect l="3846" t="17141" r="3620" b="33996"/>
          <a:stretch/>
        </p:blipFill>
        <p:spPr>
          <a:xfrm>
            <a:off x="914373" y="881405"/>
            <a:ext cx="2147697" cy="17269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071B2AA-25CD-028D-B084-997216A0933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4373" y="1899106"/>
            <a:ext cx="2743227" cy="15679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11F6CFA-08F0-E4DC-47A5-042125D5C5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08922" y="2029944"/>
            <a:ext cx="2358178" cy="1224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 You Need: </a:t>
            </a: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ted family reunion menu</a:t>
            </a: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 to a printer or copy machine</a:t>
            </a: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ank sheets of your preferred cardstock color and thickness (65# and 110# are typical options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E49C2E-D76F-F446-472B-395A5B72736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4402" y="3702506"/>
            <a:ext cx="2743198" cy="37142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2CD6D9D-B29E-6088-7ADC-AAE3841D65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08950" y="3833343"/>
            <a:ext cx="2354127" cy="2986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mplate Guidance:</a:t>
            </a: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d the names of your </a:t>
            </a: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item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the names will go in place of the black text on the following pages</a:t>
            </a: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both sides of the tent car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 you need more pages, simply copy and paste a slide</a:t>
            </a: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form spell check</a:t>
            </a: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nt the following pages on your preferred cardstock; be sure to select ‘single-sided’ in the print menu</a:t>
            </a: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t the cards out (paper cutter recommended) on the grey lines which are light enough to be seen but not super noticeable to your guests</a:t>
            </a:r>
          </a:p>
          <a:p>
            <a:pPr marL="233363" marR="0" lvl="0" indent="-233363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ld the cards halfway so that it can sit as a ten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FF49443-B450-A62C-60F4-8EFF2D412C5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14802" y="2420697"/>
            <a:ext cx="2743196" cy="3517592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5FDAA5D-1BA9-4F49-1BEF-203B946242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14803" y="2029944"/>
            <a:ext cx="2743198" cy="35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1183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nt Card Example: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6BFECE0-E4FD-D1D2-9713-30F09AFD353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97650" y="9012707"/>
            <a:ext cx="3959155" cy="172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118332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Copyright 2023 Danny Loomans. All rights reserved.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A9326DC-5A69-D374-1A47-2A1D4BC17D0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97650" y="9146490"/>
            <a:ext cx="3959155" cy="172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118332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bmit Questions or Feedback at uncommongenealogist.com/templates</a:t>
            </a:r>
          </a:p>
        </p:txBody>
      </p:sp>
    </p:spTree>
    <p:extLst>
      <p:ext uri="{BB962C8B-B14F-4D97-AF65-F5344CB8AC3E}">
        <p14:creationId xmlns:p14="http://schemas.microsoft.com/office/powerpoint/2010/main" val="28539117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1F05E-34D2-0DAF-AADF-9933B33B00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71F05E-34D2-0DAF-AADF-9933B33B0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F74FC2DF-5942-7335-291B-77FA480E81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39012" y="308433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7B0BD09-8223-AAC0-91B6-3406AB9FC9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96871" y="281423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tx1"/>
                </a:solidFill>
                <a:latin typeface="Trade Gothic Next Cond" panose="020B0506040303020004" pitchFamily="34" charset="0"/>
                <a:cs typeface="Arial" panose="020B0604020202020204" pitchFamily="34" charset="0"/>
              </a:rPr>
              <a:t>DISH NAME</a:t>
            </a:r>
            <a:endParaRPr lang="en-US" sz="2000" b="1" dirty="0">
              <a:solidFill>
                <a:schemeClr val="tx1"/>
              </a:solidFill>
              <a:latin typeface="Trade Gothic Next Cond" panose="020B05060403030200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9F9AFA-B18D-74CD-7321-C49ACC5DBDA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25871" y="308433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FC3094-CB3F-ECA5-4B77-351CB7CC3EB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283730" y="281423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tx1"/>
                </a:solidFill>
                <a:latin typeface="Trade Gothic Next Cond" panose="020B0506040303020004" pitchFamily="34" charset="0"/>
                <a:cs typeface="Arial" panose="020B0604020202020204" pitchFamily="34" charset="0"/>
              </a:rPr>
              <a:t>DISH NAME</a:t>
            </a:r>
            <a:endParaRPr lang="en-US" sz="2000" b="1" dirty="0">
              <a:solidFill>
                <a:schemeClr val="tx1"/>
              </a:solidFill>
              <a:latin typeface="Trade Gothic Next Cond" panose="020B05060403030200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6B8676-203A-2232-6E21-8CF25783E65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39012" y="5177968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F611E6-5953-530B-CCE9-463B94F51B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96871" y="768377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tx1"/>
                </a:solidFill>
                <a:latin typeface="Trade Gothic Next Cond" panose="020B0506040303020004" pitchFamily="34" charset="0"/>
                <a:cs typeface="Arial" panose="020B0604020202020204" pitchFamily="34" charset="0"/>
              </a:rPr>
              <a:t>DISH NAME</a:t>
            </a:r>
            <a:endParaRPr lang="en-US" sz="2000" b="1" dirty="0">
              <a:solidFill>
                <a:schemeClr val="tx1"/>
              </a:solidFill>
              <a:latin typeface="Trade Gothic Next Cond" panose="020B05060403030200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315C49-4F3C-5F90-3CF4-E21154EC95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25871" y="5177968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95D539-CEEC-7BBA-A3C5-380D9451E6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283730" y="768377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tx1"/>
                </a:solidFill>
                <a:latin typeface="Trade Gothic Next Cond" panose="020B0506040303020004" pitchFamily="34" charset="0"/>
                <a:cs typeface="Arial" panose="020B0604020202020204" pitchFamily="34" charset="0"/>
              </a:rPr>
              <a:t>DISH NAME</a:t>
            </a:r>
            <a:endParaRPr lang="en-US" sz="2000" b="1" dirty="0">
              <a:solidFill>
                <a:schemeClr val="tx1"/>
              </a:solidFill>
              <a:latin typeface="Trade Gothic Next Cond" panose="020B05060403030200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7C29A9-E580-0D12-0411-D417382A65A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596871" y="54435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tx1"/>
                </a:solidFill>
                <a:latin typeface="Trade Gothic Next Cond" panose="020B0506040303020004" pitchFamily="34" charset="0"/>
                <a:cs typeface="Arial" panose="020B0604020202020204" pitchFamily="34" charset="0"/>
              </a:rPr>
              <a:t>DISH NAME</a:t>
            </a:r>
            <a:endParaRPr lang="en-US" sz="2000" b="1" dirty="0">
              <a:solidFill>
                <a:schemeClr val="tx1"/>
              </a:solidFill>
              <a:latin typeface="Trade Gothic Next Cond" panose="020B05060403030200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9C52AA-8791-8E1A-0883-EE2DF5150B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4283730" y="54435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tx1"/>
                </a:solidFill>
                <a:latin typeface="Trade Gothic Next Cond" panose="020B0506040303020004" pitchFamily="34" charset="0"/>
                <a:cs typeface="Arial" panose="020B0604020202020204" pitchFamily="34" charset="0"/>
              </a:rPr>
              <a:t>DISH NAME</a:t>
            </a:r>
            <a:endParaRPr lang="en-US" sz="2000" b="1" dirty="0">
              <a:solidFill>
                <a:schemeClr val="tx1"/>
              </a:solidFill>
              <a:latin typeface="Trade Gothic Next Cond" panose="020B05060403030200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FA1FA-78D9-7567-F46F-FFF5D0B3FC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596871" y="541388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tx1"/>
                </a:solidFill>
                <a:latin typeface="Trade Gothic Next Cond" panose="020B0506040303020004" pitchFamily="34" charset="0"/>
                <a:cs typeface="Arial" panose="020B0604020202020204" pitchFamily="34" charset="0"/>
              </a:rPr>
              <a:t>DISH NAME</a:t>
            </a:r>
            <a:endParaRPr lang="en-US" sz="2000" b="1" dirty="0">
              <a:solidFill>
                <a:schemeClr val="tx1"/>
              </a:solidFill>
              <a:latin typeface="Trade Gothic Next Cond" panose="020B05060403030200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E37A93-5BE7-51DF-05E2-181C9367D2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4283730" y="541388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tx1"/>
                </a:solidFill>
                <a:latin typeface="Trade Gothic Next Cond" panose="020B0506040303020004" pitchFamily="34" charset="0"/>
                <a:cs typeface="Arial" panose="020B0604020202020204" pitchFamily="34" charset="0"/>
              </a:rPr>
              <a:t>DISH NAME</a:t>
            </a:r>
            <a:endParaRPr lang="en-US" sz="2000" b="1" dirty="0">
              <a:solidFill>
                <a:schemeClr val="tx1"/>
              </a:solidFill>
              <a:latin typeface="Trade Gothic Next Cond" panose="020B05060403030200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9774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1F05E-34D2-0DAF-AADF-9933B33B00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71F05E-34D2-0DAF-AADF-9933B33B0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F74FC2DF-5942-7335-291B-77FA480E81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39012" y="308433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7B0BD09-8223-AAC0-91B6-3406AB9FC9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96871" y="281423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9F9AFA-B18D-74CD-7321-C49ACC5DBDA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25871" y="308433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FC3094-CB3F-ECA5-4B77-351CB7CC3EB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283730" y="281423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6B8676-203A-2232-6E21-8CF25783E65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39012" y="5177968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F611E6-5953-530B-CCE9-463B94F51B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96871" y="768377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315C49-4F3C-5F90-3CF4-E21154EC95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25871" y="5177968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95D539-CEEC-7BBA-A3C5-380D9451E6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283730" y="768377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7C29A9-E580-0D12-0411-D417382A65A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596871" y="54435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9C52AA-8791-8E1A-0883-EE2DF5150B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4283730" y="54435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FA1FA-78D9-7567-F46F-FFF5D0B3FC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596871" y="541388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E37A93-5BE7-51DF-05E2-181C9367D2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4283730" y="541388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9841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1F05E-34D2-0DAF-AADF-9933B33B00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71F05E-34D2-0DAF-AADF-9933B33B0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F74FC2DF-5942-7335-291B-77FA480E81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39012" y="308433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7B0BD09-8223-AAC0-91B6-3406AB9FC9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96871" y="281423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9F9AFA-B18D-74CD-7321-C49ACC5DBDA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25871" y="308433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FC3094-CB3F-ECA5-4B77-351CB7CC3EB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283730" y="281423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6B8676-203A-2232-6E21-8CF25783E65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39012" y="5177968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F611E6-5953-530B-CCE9-463B94F51B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96871" y="768377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315C49-4F3C-5F90-3CF4-E21154EC95B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25871" y="5177968"/>
            <a:ext cx="3429000" cy="4572000"/>
          </a:xfrm>
          <a:prstGeom prst="rect">
            <a:avLst/>
          </a:prstGeom>
          <a:solidFill>
            <a:schemeClr val="bg1"/>
          </a:solidFill>
          <a:ln w="3175">
            <a:solidFill>
              <a:srgbClr val="E0E0E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95D539-CEEC-7BBA-A3C5-380D9451E68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283730" y="768377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B7C29A9-E580-0D12-0411-D417382A65A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596871" y="54435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9C52AA-8791-8E1A-0883-EE2DF5150B1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4283730" y="544352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FFA1FA-78D9-7567-F46F-FFF5D0B3FCF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596871" y="541388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E37A93-5BE7-51DF-05E2-181C9367D2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0800000">
            <a:off x="4283730" y="5413887"/>
            <a:ext cx="2921810" cy="183027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  <a:ea typeface="+mn-ea"/>
                <a:cs typeface="Arial" panose="020B0604020202020204" pitchFamily="34" charset="0"/>
              </a:rPr>
              <a:t>DISH NAM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ade Gothic Next Cond" panose="020B05060403030200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3557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34</Words>
  <Application>Microsoft Office PowerPoint</Application>
  <PresentationFormat>Custom</PresentationFormat>
  <Paragraphs>4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Trade Gothic Next Cond</vt:lpstr>
      <vt:lpstr>Trade Gothic Next HvyCd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omans, Danny</dc:creator>
  <cp:lastModifiedBy>Loomans, Danny</cp:lastModifiedBy>
  <cp:revision>1</cp:revision>
  <dcterms:created xsi:type="dcterms:W3CDTF">2023-03-18T20:19:23Z</dcterms:created>
  <dcterms:modified xsi:type="dcterms:W3CDTF">2023-03-18T20:46:10Z</dcterms:modified>
</cp:coreProperties>
</file>